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86" r:id="rId5"/>
  </p:sldMasterIdLst>
  <p:notesMasterIdLst>
    <p:notesMasterId r:id="rId14"/>
  </p:notesMasterIdLst>
  <p:sldIdLst>
    <p:sldId id="303" r:id="rId6"/>
    <p:sldId id="344" r:id="rId7"/>
    <p:sldId id="345" r:id="rId8"/>
    <p:sldId id="346" r:id="rId9"/>
    <p:sldId id="347" r:id="rId10"/>
    <p:sldId id="348" r:id="rId11"/>
    <p:sldId id="350" r:id="rId12"/>
    <p:sldId id="322" r:id="rId13"/>
  </p:sldIdLst>
  <p:sldSz cx="6858000" cy="51435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6" userDrawn="1">
          <p15:clr>
            <a:srgbClr val="A4A3A4"/>
          </p15:clr>
        </p15:guide>
        <p15:guide id="2" pos="170" userDrawn="1">
          <p15:clr>
            <a:srgbClr val="A4A3A4"/>
          </p15:clr>
        </p15:guide>
        <p15:guide id="3" orient="horz" pos="214" userDrawn="1">
          <p15:clr>
            <a:srgbClr val="A4A3A4"/>
          </p15:clr>
        </p15:guide>
        <p15:guide id="4" pos="415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neth Miller" initials="KM" lastIdx="1" clrIdx="0">
    <p:extLst>
      <p:ext uri="{19B8F6BF-5375-455C-9EA6-DF929625EA0E}">
        <p15:presenceInfo xmlns:p15="http://schemas.microsoft.com/office/powerpoint/2012/main" userId="S-1-5-21-1942464828-378638904-3880573118-24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685"/>
    <a:srgbClr val="00516A"/>
    <a:srgbClr val="FFFFFF"/>
    <a:srgbClr val="EDEDED"/>
    <a:srgbClr val="A2D5F4"/>
    <a:srgbClr val="00A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1EA6F0-DA0C-4AE5-B613-9036B7ABC4C4}" v="1" dt="2022-12-06T11:53:26.6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87958" autoAdjust="0"/>
  </p:normalViewPr>
  <p:slideViewPr>
    <p:cSldViewPr snapToGrid="0" snapToObjects="1" showGuides="1">
      <p:cViewPr varScale="1">
        <p:scale>
          <a:sx n="137" d="100"/>
          <a:sy n="137" d="100"/>
        </p:scale>
        <p:origin x="1764" y="80"/>
      </p:cViewPr>
      <p:guideLst>
        <p:guide orient="horz" pos="3026"/>
        <p:guide pos="170"/>
        <p:guide orient="horz" pos="214"/>
        <p:guide pos="41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ana Hekerem (NHS Healthcare Improvement Scotland)" userId="S::diana.hekerem@his.nhs.scot::f009844f-0a1a-49f7-8c57-919565749b36" providerId="AD" clId="Web-{8B1EA6F0-DA0C-4AE5-B613-9036B7ABC4C4}"/>
    <pc:docChg chg="addSld">
      <pc:chgData name="Diana Hekerem (NHS Healthcare Improvement Scotland)" userId="S::diana.hekerem@his.nhs.scot::f009844f-0a1a-49f7-8c57-919565749b36" providerId="AD" clId="Web-{8B1EA6F0-DA0C-4AE5-B613-9036B7ABC4C4}" dt="2022-12-06T11:53:26.624" v="0"/>
      <pc:docMkLst>
        <pc:docMk/>
      </pc:docMkLst>
      <pc:sldChg chg="new">
        <pc:chgData name="Diana Hekerem (NHS Healthcare Improvement Scotland)" userId="S::diana.hekerem@his.nhs.scot::f009844f-0a1a-49f7-8c57-919565749b36" providerId="AD" clId="Web-{8B1EA6F0-DA0C-4AE5-B613-9036B7ABC4C4}" dt="2022-12-06T11:53:26.624" v="0"/>
        <pc:sldMkLst>
          <pc:docMk/>
          <pc:sldMk cId="1969175448" sldId="34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2F9AD6-6EDC-0948-A14C-5DEF32FE1F3F}" type="datetimeFigureOut">
              <a:rPr lang="en-US" smtClean="0"/>
              <a:pPr/>
              <a:t>12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FE83B7-278F-6545-9C62-E36EB068C0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156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lternative title and layout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FE83B7-278F-6545-9C62-E36EB068C00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939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645CECBD-5D4C-46A7-A270-C89CA29ED3B0}" type="slidenum">
              <a:rPr lang="en-GB">
                <a:solidFill>
                  <a:prstClr val="black"/>
                </a:solidFill>
              </a:rPr>
              <a:t>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96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45112" cy="400843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696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755650" y="5078413"/>
            <a:ext cx="6048375" cy="4811712"/>
          </a:xfrm>
          <a:prstGeom prst="rect">
            <a:avLst/>
          </a:prstGeom>
          <a:noFill/>
          <a:ln>
            <a:rou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368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" name="Google Shape;1089;gdf80ac1bea_2_5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160338" y="1503363"/>
            <a:ext cx="5413376" cy="40608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0" name="Google Shape;1090;gdf80ac1bea_2_516:notes"/>
          <p:cNvSpPr txBox="1">
            <a:spLocks noGrp="1"/>
          </p:cNvSpPr>
          <p:nvPr>
            <p:ph type="body" idx="1"/>
          </p:nvPr>
        </p:nvSpPr>
        <p:spPr>
          <a:xfrm>
            <a:off x="92112" y="7224168"/>
            <a:ext cx="6673776" cy="887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</a:pPr>
            <a:endParaRPr sz="12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 marL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</a:pPr>
            <a:endParaRPr sz="1200">
              <a:solidFill>
                <a:schemeClr val="dk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91" name="Google Shape;1091;gdf80ac1bea_2_516:notes"/>
          <p:cNvSpPr txBox="1">
            <a:spLocks noGrp="1"/>
          </p:cNvSpPr>
          <p:nvPr>
            <p:ph type="sldNum" idx="12"/>
          </p:nvPr>
        </p:nvSpPr>
        <p:spPr>
          <a:xfrm>
            <a:off x="3884616" y="8685216"/>
            <a:ext cx="2881274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475" tIns="46225" rIns="92475" bIns="46225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0052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68" r="8849"/>
          <a:stretch/>
        </p:blipFill>
        <p:spPr>
          <a:xfrm>
            <a:off x="-16329" y="-35116"/>
            <a:ext cx="6874329" cy="52407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6448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77" r="9113"/>
          <a:stretch/>
        </p:blipFill>
        <p:spPr>
          <a:xfrm>
            <a:off x="-32657" y="-35116"/>
            <a:ext cx="6923314" cy="5240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654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651BE-731E-B34C-A453-ED3D61972272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756D6C-94CC-45C9-B17B-DFB9C9E5068B}" type="datetimeFigureOut">
              <a:rPr lang="en-GB" smtClean="0"/>
              <a:t>06/1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391FB4-5BEE-4405-8B44-E29CE1C1AF5F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0" y="1141"/>
            <a:ext cx="6858000" cy="703195"/>
          </a:xfrm>
          <a:prstGeom prst="rect">
            <a:avLst/>
          </a:prstGeom>
          <a:solidFill>
            <a:srgbClr val="004380"/>
          </a:solidFill>
          <a:ln>
            <a:solidFill>
              <a:srgbClr val="00438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/>
          </a:p>
        </p:txBody>
      </p:sp>
    </p:spTree>
    <p:extLst>
      <p:ext uri="{BB962C8B-B14F-4D97-AF65-F5344CB8AC3E}">
        <p14:creationId xmlns:p14="http://schemas.microsoft.com/office/powerpoint/2010/main" val="3985625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893" y="1192"/>
          <a:ext cx="893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3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5443538" y="4803777"/>
            <a:ext cx="833654" cy="1154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4855072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 dirty="0">
                <a:solidFill>
                  <a:srgbClr val="FFFFFF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81928" y="4832566"/>
            <a:ext cx="214313" cy="866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563" smtClean="0">
                <a:solidFill>
                  <a:srgbClr val="FFFFFF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563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4375" y="2869750"/>
            <a:ext cx="6149925" cy="1204913"/>
          </a:xfrm>
        </p:spPr>
        <p:txBody>
          <a:bodyPr anchor="b">
            <a:noAutofit/>
          </a:bodyPr>
          <a:lstStyle>
            <a:lvl1pPr marL="0" algn="l" defTabSz="514350" rtl="0" eaLnBrk="1" fontAlgn="auto" latinLnBrk="0" hangingPunct="1">
              <a:lnSpc>
                <a:spcPts val="3375"/>
              </a:lnSpc>
              <a:spcBef>
                <a:spcPts val="0"/>
              </a:spcBef>
              <a:spcAft>
                <a:spcPts val="0"/>
              </a:spcAft>
              <a:defRPr lang="en-US" sz="3038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5683568" y="3847487"/>
            <a:ext cx="2057400" cy="5456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rgbClr val="FFFFFF"/>
                </a:solidFill>
                <a:sym typeface="Trebuchet MS" panose="020B0603020202020204" pitchFamily="34" charset="0"/>
              </a:rPr>
              <a:t>CPI Strategy - Australia (Das).pptx</a:t>
            </a:r>
            <a:endParaRPr lang="en-US" sz="394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3084386" y="4937760"/>
            <a:ext cx="689229" cy="14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82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651BE-731E-B34C-A453-ED3D619722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37600" y="315630"/>
            <a:ext cx="6366600" cy="3755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929063" y="1266825"/>
            <a:ext cx="2683669" cy="33909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237601" y="1266825"/>
            <a:ext cx="3412856" cy="3390900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00" y="865815"/>
            <a:ext cx="6372000" cy="59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389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522"/>
            <a:ext cx="6858000" cy="86247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651BE-731E-B34C-A453-ED3D6197227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51888" y="315630"/>
            <a:ext cx="6366600" cy="37557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929063" y="1266825"/>
            <a:ext cx="2683669" cy="33909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251888" y="1266825"/>
            <a:ext cx="3412856" cy="3390900"/>
          </a:xfrm>
        </p:spPr>
        <p:txBody>
          <a:bodyPr>
            <a:noAutofit/>
          </a:bodyPr>
          <a:lstStyle>
            <a:lvl1pPr>
              <a:buClr>
                <a:schemeClr val="bg2"/>
              </a:buClr>
              <a:defRPr>
                <a:solidFill>
                  <a:srgbClr val="00516A"/>
                </a:solidFill>
              </a:defRPr>
            </a:lvl1pPr>
            <a:lvl2pPr>
              <a:buClr>
                <a:schemeClr val="bg2"/>
              </a:buClr>
              <a:defRPr>
                <a:solidFill>
                  <a:srgbClr val="00516A"/>
                </a:solidFill>
              </a:defRPr>
            </a:lvl2pPr>
            <a:lvl3pPr>
              <a:buClr>
                <a:schemeClr val="bg2"/>
              </a:buClr>
              <a:defRPr>
                <a:solidFill>
                  <a:srgbClr val="00516A"/>
                </a:solidFill>
              </a:defRPr>
            </a:lvl3pPr>
            <a:lvl4pPr>
              <a:buClr>
                <a:schemeClr val="bg2"/>
              </a:buClr>
              <a:defRPr>
                <a:solidFill>
                  <a:srgbClr val="00516A"/>
                </a:solidFill>
              </a:defRPr>
            </a:lvl4pPr>
            <a:lvl5pPr>
              <a:buClr>
                <a:schemeClr val="bg2"/>
              </a:buClr>
              <a:defRPr>
                <a:solidFill>
                  <a:srgbClr val="00516A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65806"/>
            <a:ext cx="6858000" cy="6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728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893" y="1192"/>
          <a:ext cx="893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3" y="1192"/>
                        <a:ext cx="893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4855072" y="2950947"/>
            <a:ext cx="3850481" cy="545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54375" y="467101"/>
            <a:ext cx="6150009" cy="2492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5683568" y="3847487"/>
            <a:ext cx="2057400" cy="5456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338"/>
              </a:spcAft>
            </a:pPr>
            <a:r>
              <a:rPr lang="en-US" sz="394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CPI Strategy - Australia (Das).pptx</a:t>
            </a:r>
            <a:endParaRPr lang="en-US" sz="394" dirty="0">
              <a:solidFill>
                <a:srgbClr val="FFFFFF">
                  <a:lumMod val="50000"/>
                </a:srgb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31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600" y="315630"/>
            <a:ext cx="6366600" cy="37557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700" y="1113751"/>
            <a:ext cx="6358500" cy="3391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18000" y="4767263"/>
            <a:ext cx="2943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0A2E5"/>
                </a:solidFill>
              </a:defRPr>
            </a:lvl1pPr>
          </a:lstStyle>
          <a:p>
            <a:fld id="{059651BE-731E-B34C-A453-ED3D619722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669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91" r:id="rId2"/>
    <p:sldLayoutId id="2147483667" r:id="rId3"/>
    <p:sldLayoutId id="2147483695" r:id="rId4"/>
    <p:sldLayoutId id="2147483697" r:id="rId5"/>
  </p:sldLayoutIdLst>
  <p:txStyles>
    <p:titleStyle>
      <a:lvl1pPr algn="l" defTabSz="342900" rtl="0" eaLnBrk="1" latinLnBrk="0" hangingPunct="1">
        <a:spcBef>
          <a:spcPct val="0"/>
        </a:spcBef>
        <a:buNone/>
        <a:defRPr sz="2100" b="0" u="none" kern="1200">
          <a:solidFill>
            <a:schemeClr val="tx1"/>
          </a:solidFill>
          <a:uFill>
            <a:solidFill>
              <a:srgbClr val="00A2E5"/>
            </a:solidFill>
          </a:u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600" y="315630"/>
            <a:ext cx="6366600" cy="37557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5700" y="1113751"/>
            <a:ext cx="6358500" cy="3391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18000" y="4767263"/>
            <a:ext cx="2943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0A2E5"/>
                </a:solidFill>
              </a:defRPr>
            </a:lvl1pPr>
          </a:lstStyle>
          <a:p>
            <a:fld id="{059651BE-731E-B34C-A453-ED3D6197227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50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4" r:id="rId3"/>
  </p:sldLayoutIdLst>
  <p:txStyles>
    <p:titleStyle>
      <a:lvl1pPr algn="l" defTabSz="342900" rtl="0" eaLnBrk="1" latinLnBrk="0" hangingPunct="1">
        <a:spcBef>
          <a:spcPct val="0"/>
        </a:spcBef>
        <a:buNone/>
        <a:defRPr sz="2100" b="0" u="none" kern="1200">
          <a:solidFill>
            <a:schemeClr val="tx1"/>
          </a:solidFill>
          <a:uFill>
            <a:solidFill>
              <a:srgbClr val="00A2E5"/>
            </a:solidFill>
          </a:u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ihub.scot/improvement-programmes/people-led-care/human-learning-systems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185" y="358387"/>
            <a:ext cx="2632286" cy="432000"/>
          </a:xfrm>
          <a:prstGeom prst="rect">
            <a:avLst/>
          </a:prstGeom>
        </p:spPr>
      </p:pic>
      <p:sp>
        <p:nvSpPr>
          <p:cNvPr id="12" name="Text Placeholder 9"/>
          <p:cNvSpPr txBox="1">
            <a:spLocks/>
          </p:cNvSpPr>
          <p:nvPr/>
        </p:nvSpPr>
        <p:spPr>
          <a:xfrm>
            <a:off x="215504" y="4235288"/>
            <a:ext cx="1855892" cy="3078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tx1"/>
                </a:solidFill>
              </a:rPr>
              <a:t>Diana Hekerem</a:t>
            </a:r>
          </a:p>
          <a:p>
            <a:pPr>
              <a:spcAft>
                <a:spcPts val="600"/>
              </a:spcAft>
            </a:pPr>
            <a:r>
              <a:rPr lang="en-GB" sz="1200" dirty="0" smtClean="0">
                <a:solidFill>
                  <a:schemeClr val="tx1"/>
                </a:solidFill>
              </a:rPr>
              <a:t>Improvement </a:t>
            </a:r>
            <a:r>
              <a:rPr lang="en-GB" sz="1200" dirty="0">
                <a:solidFill>
                  <a:schemeClr val="tx1"/>
                </a:solidFill>
              </a:rPr>
              <a:t>Hub</a:t>
            </a:r>
          </a:p>
          <a:p>
            <a:pPr>
              <a:spcAft>
                <a:spcPts val="600"/>
              </a:spcAft>
            </a:pPr>
            <a:r>
              <a:rPr lang="en-GB" sz="1200" dirty="0">
                <a:solidFill>
                  <a:schemeClr val="tx1"/>
                </a:solidFill>
              </a:rPr>
              <a:t>Enabling health and 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social care improvement</a:t>
            </a: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07168" y="1478344"/>
            <a:ext cx="5414404" cy="88531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 defTabSz="4572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u="none" kern="1200" spc="-20" baseline="0">
                <a:solidFill>
                  <a:schemeClr val="bg1"/>
                </a:solidFill>
                <a:uFill>
                  <a:solidFill>
                    <a:srgbClr val="00A2E5"/>
                  </a:solidFill>
                </a:u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sz="3200" spc="0" dirty="0">
                <a:solidFill>
                  <a:srgbClr val="565456"/>
                </a:solidFill>
                <a:uFillTx/>
                <a:ea typeface="+mn-ea"/>
                <a:cs typeface="+mn-cs"/>
              </a:rPr>
              <a:t>Transformational Redesign Unit</a:t>
            </a:r>
            <a:endParaRPr lang="en-GB" sz="3200" spc="0" dirty="0">
              <a:solidFill>
                <a:srgbClr val="565456"/>
              </a:solidFill>
              <a:uFillTx/>
              <a:ea typeface="+mn-ea"/>
              <a:cs typeface="+mn-cs"/>
            </a:endParaRPr>
          </a:p>
        </p:txBody>
      </p:sp>
      <p:sp>
        <p:nvSpPr>
          <p:cNvPr id="16" name="Text Placeholder 9"/>
          <p:cNvSpPr txBox="1">
            <a:spLocks/>
          </p:cNvSpPr>
          <p:nvPr/>
        </p:nvSpPr>
        <p:spPr>
          <a:xfrm>
            <a:off x="218269" y="2425843"/>
            <a:ext cx="5414404" cy="4559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20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004685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90000"/>
              </a:lnSpc>
            </a:pPr>
            <a:r>
              <a:rPr lang="en-GB" b="1" dirty="0">
                <a:solidFill>
                  <a:schemeClr val="tx1"/>
                </a:solidFill>
              </a:rPr>
              <a:t>Mental Health, Vulnerability and </a:t>
            </a:r>
            <a:r>
              <a:rPr lang="en-GB" b="1" dirty="0" smtClean="0">
                <a:solidFill>
                  <a:schemeClr val="tx1"/>
                </a:solidFill>
              </a:rPr>
              <a:t>Police:</a:t>
            </a:r>
          </a:p>
          <a:p>
            <a:pPr lvl="0">
              <a:lnSpc>
                <a:spcPct val="90000"/>
              </a:lnSpc>
            </a:pPr>
            <a:r>
              <a:rPr lang="en-GB" b="1" dirty="0" smtClean="0">
                <a:solidFill>
                  <a:schemeClr val="tx1"/>
                </a:solidFill>
              </a:rPr>
              <a:t>Collaborative &amp; preventative approaches to improving outcomes in complexity</a:t>
            </a:r>
            <a:endParaRPr lang="en-GB" sz="1400" dirty="0">
              <a:solidFill>
                <a:srgbClr val="5654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11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226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0365" y="1417729"/>
            <a:ext cx="4453689" cy="2505947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Rounded Rectangle 16"/>
          <p:cNvSpPr/>
          <p:nvPr/>
        </p:nvSpPr>
        <p:spPr>
          <a:xfrm>
            <a:off x="420365" y="642916"/>
            <a:ext cx="5455923" cy="33807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25" dirty="0">
                <a:latin typeface="Arial" panose="020B0604020202020204" pitchFamily="34" charset="0"/>
                <a:cs typeface="Arial" panose="020B0604020202020204" pitchFamily="34" charset="0"/>
              </a:rPr>
              <a:t>This is the reality in many areas, but especially in health and social care:</a:t>
            </a:r>
            <a:endParaRPr lang="en-GB" sz="71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50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2"/>
          <p:cNvSpPr txBox="1">
            <a:spLocks noChangeArrowheads="1"/>
          </p:cNvSpPr>
          <p:nvPr/>
        </p:nvSpPr>
        <p:spPr bwMode="auto">
          <a:xfrm>
            <a:off x="1587627" y="1753363"/>
            <a:ext cx="3682748" cy="2025369"/>
          </a:xfrm>
          <a:prstGeom prst="rect">
            <a:avLst/>
          </a:prstGeom>
          <a:noFill/>
          <a:ln w="9525">
            <a:noFill/>
            <a:round/>
          </a:ln>
          <a:effectLst/>
        </p:spPr>
        <p:txBody>
          <a:bodyPr lIns="40275" tIns="20138" rIns="40275" bIns="20138"/>
          <a:lstStyle/>
          <a:p>
            <a:pPr marL="153459" indent="-152891">
              <a:spcBef>
                <a:spcPts val="286"/>
              </a:spcBef>
              <a:spcAft>
                <a:spcPts val="638"/>
              </a:spcAft>
              <a:tabLst>
                <a:tab pos="323969" algn="l"/>
                <a:tab pos="647939" algn="l"/>
                <a:tab pos="971908" algn="l"/>
                <a:tab pos="1295877" algn="l"/>
                <a:tab pos="1619846" algn="l"/>
                <a:tab pos="1943816" algn="l"/>
                <a:tab pos="2267785" algn="l"/>
                <a:tab pos="2591754" algn="l"/>
                <a:tab pos="2915723" algn="l"/>
                <a:tab pos="3239692" algn="l"/>
                <a:tab pos="3563661" algn="l"/>
              </a:tabLst>
            </a:pPr>
            <a:endParaRPr lang="en-US" sz="1611" dirty="0">
              <a:solidFill>
                <a:srgbClr val="00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1573" y="1037272"/>
            <a:ext cx="3614853" cy="2577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452733" y="3793484"/>
            <a:ext cx="4598742" cy="3690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0920" tIns="20460" rIns="40920" bIns="20460" numCol="1" spcCol="0" rtlCol="0" fromWordArt="0" anchor="ctr" anchorCtr="0" forceAA="0" compatLnSpc="1">
            <a:noAutofit/>
          </a:bodyPr>
          <a:lstStyle/>
          <a:p>
            <a:r>
              <a:rPr lang="en-GB" sz="817" dirty="0" err="1">
                <a:solidFill>
                  <a:srgbClr val="37373A"/>
                </a:solidFill>
              </a:rPr>
              <a:t>Vandenbroeck</a:t>
            </a:r>
            <a:r>
              <a:rPr lang="en-GB" sz="817" dirty="0">
                <a:solidFill>
                  <a:srgbClr val="37373A"/>
                </a:solidFill>
              </a:rPr>
              <a:t>, P., </a:t>
            </a:r>
            <a:r>
              <a:rPr lang="en-GB" sz="817" dirty="0" err="1">
                <a:solidFill>
                  <a:srgbClr val="37373A"/>
                </a:solidFill>
              </a:rPr>
              <a:t>Goossens</a:t>
            </a:r>
            <a:r>
              <a:rPr lang="en-GB" sz="817" dirty="0">
                <a:solidFill>
                  <a:srgbClr val="37373A"/>
                </a:solidFill>
              </a:rPr>
              <a:t>, J. and Clemens, M. (2007), </a:t>
            </a:r>
            <a:r>
              <a:rPr lang="en-GB" sz="817" i="1" dirty="0">
                <a:solidFill>
                  <a:srgbClr val="37373A"/>
                </a:solidFill>
              </a:rPr>
              <a:t>Foresight Tackling Obesities:</a:t>
            </a:r>
          </a:p>
          <a:p>
            <a:r>
              <a:rPr lang="en-GB" sz="817" i="1" dirty="0">
                <a:solidFill>
                  <a:srgbClr val="37373A"/>
                </a:solidFill>
              </a:rPr>
              <a:t>Future Choices – Building the Obesity System Map</a:t>
            </a:r>
            <a:r>
              <a:rPr lang="en-GB" sz="817" dirty="0">
                <a:solidFill>
                  <a:srgbClr val="37373A"/>
                </a:solidFill>
              </a:rPr>
              <a:t>, London: Government Office for</a:t>
            </a:r>
          </a:p>
          <a:p>
            <a:r>
              <a:rPr lang="fr-FR" sz="817" dirty="0">
                <a:solidFill>
                  <a:srgbClr val="37373A"/>
                </a:solidFill>
              </a:rPr>
              <a:t>Science</a:t>
            </a:r>
          </a:p>
          <a:p>
            <a:r>
              <a:rPr lang="en-GB" sz="1225" dirty="0"/>
              <a:t>295153/07-1177-obesity-system-atlas.pdf</a:t>
            </a:r>
            <a:endParaRPr lang="en-GB" sz="1225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01039" y="642916"/>
            <a:ext cx="5455923" cy="33807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25" dirty="0">
                <a:latin typeface="Arial" panose="020B0604020202020204" pitchFamily="34" charset="0"/>
                <a:cs typeface="Arial" panose="020B0604020202020204" pitchFamily="34" charset="0"/>
              </a:rPr>
              <a:t>An example of complexity – obesity map:</a:t>
            </a:r>
            <a:endParaRPr lang="en-GB" sz="714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4389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67" y="740991"/>
            <a:ext cx="954440" cy="156627"/>
          </a:xfrm>
          <a:prstGeom prst="rect">
            <a:avLst/>
          </a:prstGeom>
        </p:spPr>
      </p:pic>
      <p:pic>
        <p:nvPicPr>
          <p:cNvPr id="7" name="Picture 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38" y="987674"/>
            <a:ext cx="5568750" cy="40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65157" y="661566"/>
            <a:ext cx="4436695" cy="369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013" dirty="0">
                <a:solidFill>
                  <a:srgbClr val="004D86"/>
                </a:solidFill>
              </a:rPr>
              <a:t>ihub Approach to Discovery</a:t>
            </a:r>
          </a:p>
          <a:p>
            <a:pPr algn="r"/>
            <a:r>
              <a:rPr lang="en-GB" sz="788" dirty="0">
                <a:solidFill>
                  <a:srgbClr val="00AAE7"/>
                </a:solidFill>
              </a:rPr>
              <a:t>Understanding the Experience of People with Lived and Living Experience – </a:t>
            </a:r>
            <a:r>
              <a:rPr lang="en-GB" sz="788" dirty="0">
                <a:solidFill>
                  <a:srgbClr val="00AAE7"/>
                </a:solidFill>
              </a:rPr>
              <a:t>Experience Journey Map</a:t>
            </a:r>
            <a:endParaRPr lang="en-GB" sz="788" dirty="0">
              <a:solidFill>
                <a:srgbClr val="00AAE7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8030" y="1128884"/>
            <a:ext cx="4621942" cy="326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184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049" y="928325"/>
            <a:ext cx="4462976" cy="438696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6382" y="163076"/>
            <a:ext cx="668161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ihub Approach to Discovery</a:t>
            </a:r>
          </a:p>
          <a:p>
            <a:pPr algn="r"/>
            <a:r>
              <a:rPr lang="en-GB" sz="1200" dirty="0">
                <a:solidFill>
                  <a:schemeClr val="bg1"/>
                </a:solidFill>
              </a:rPr>
              <a:t>Understanding the Experience of People with Lived and Living Experience – </a:t>
            </a:r>
            <a:r>
              <a:rPr lang="en-GB" sz="1200" dirty="0">
                <a:solidFill>
                  <a:schemeClr val="bg1"/>
                </a:solidFill>
              </a:rPr>
              <a:t>Experience Journey Map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98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1" y="194814"/>
            <a:ext cx="2845315" cy="494868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7807" y="-17494"/>
            <a:ext cx="3987156" cy="495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64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47"/>
          <p:cNvSpPr txBox="1"/>
          <p:nvPr/>
        </p:nvSpPr>
        <p:spPr>
          <a:xfrm>
            <a:off x="283139" y="62391"/>
            <a:ext cx="6128821" cy="6199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7969" tIns="18994" rIns="37969" bIns="18994" anchor="t" anchorCtr="0">
            <a:noAutofit/>
          </a:bodyPr>
          <a:lstStyle/>
          <a:p>
            <a:pPr algn="ctr">
              <a:buClr>
                <a:srgbClr val="000000"/>
              </a:buClr>
              <a:buSzPts val="2100"/>
            </a:pPr>
            <a:r>
              <a:rPr lang="en-GB" sz="2025" dirty="0">
                <a:solidFill>
                  <a:schemeClr val="lt1"/>
                </a:solidFill>
                <a:ea typeface="Trebuchet MS"/>
                <a:cs typeface="Trebuchet MS"/>
                <a:sym typeface="Trebuchet MS"/>
              </a:rPr>
              <a:t>How can public management respond </a:t>
            </a:r>
          </a:p>
          <a:p>
            <a:pPr algn="ctr">
              <a:buClr>
                <a:srgbClr val="000000"/>
              </a:buClr>
              <a:buSzPts val="2100"/>
            </a:pPr>
            <a:r>
              <a:rPr lang="en-GB" sz="2025" dirty="0">
                <a:solidFill>
                  <a:schemeClr val="lt1"/>
                </a:solidFill>
                <a:ea typeface="Trebuchet MS"/>
                <a:cs typeface="Trebuchet MS"/>
                <a:sym typeface="Trebuchet MS"/>
              </a:rPr>
              <a:t>to this reality?</a:t>
            </a:r>
          </a:p>
          <a:p>
            <a:pPr algn="ctr">
              <a:buClr>
                <a:srgbClr val="000000"/>
              </a:buClr>
              <a:buSzPts val="2100"/>
            </a:pPr>
            <a:r>
              <a:rPr lang="en-GB" sz="2700" b="1" dirty="0" smtClean="0">
                <a:solidFill>
                  <a:srgbClr val="0070C0"/>
                </a:solidFill>
                <a:ea typeface="Trebuchet MS"/>
                <a:cs typeface="Trebuchet MS"/>
                <a:sym typeface="Trebuchet MS"/>
              </a:rPr>
              <a:t>Learning </a:t>
            </a:r>
            <a:r>
              <a:rPr lang="en-GB" sz="2700" b="1" dirty="0">
                <a:solidFill>
                  <a:srgbClr val="0070C0"/>
                </a:solidFill>
                <a:ea typeface="Trebuchet MS"/>
                <a:cs typeface="Trebuchet MS"/>
                <a:sym typeface="Trebuchet MS"/>
              </a:rPr>
              <a:t>as a management strategy</a:t>
            </a:r>
          </a:p>
          <a:p>
            <a:pPr>
              <a:buClr>
                <a:srgbClr val="000000"/>
              </a:buClr>
              <a:buSzPts val="2100"/>
            </a:pPr>
            <a:endParaRPr sz="1575" dirty="0">
              <a:solidFill>
                <a:srgbClr val="0070C0"/>
              </a:solidFill>
              <a:latin typeface="Avenir"/>
              <a:ea typeface="Avenir"/>
              <a:cs typeface="Avenir"/>
              <a:sym typeface="Avenir"/>
            </a:endParaRPr>
          </a:p>
          <a:p>
            <a:pPr algn="ctr">
              <a:buClr>
                <a:srgbClr val="000000"/>
              </a:buClr>
              <a:buSzPts val="2300"/>
            </a:pPr>
            <a:endParaRPr lang="en" sz="1725" dirty="0">
              <a:solidFill>
                <a:srgbClr val="0070C0"/>
              </a:solidFill>
              <a:latin typeface="Trebuchet MS"/>
              <a:ea typeface="Trebuchet MS"/>
              <a:cs typeface="Trebuchet MS"/>
              <a:sym typeface="Trebuchet MS"/>
            </a:endParaRPr>
          </a:p>
          <a:p>
            <a:pPr>
              <a:buClr>
                <a:srgbClr val="000000"/>
              </a:buClr>
              <a:buSzPts val="1400"/>
            </a:pPr>
            <a:endParaRPr sz="1050" dirty="0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" name="Google Shape;1350;p174"/>
          <p:cNvSpPr txBox="1"/>
          <p:nvPr/>
        </p:nvSpPr>
        <p:spPr>
          <a:xfrm>
            <a:off x="1233523" y="4240422"/>
            <a:ext cx="4228051" cy="325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algn="ctr">
              <a:buClr>
                <a:srgbClr val="000000"/>
              </a:buClr>
              <a:buSzPts val="2400"/>
            </a:pPr>
            <a:r>
              <a:rPr lang="en-GB" sz="2400" dirty="0" smtClean="0">
                <a:hlinkClick r:id="rId3"/>
              </a:rPr>
              <a:t>Human </a:t>
            </a:r>
            <a:r>
              <a:rPr lang="en-GB" sz="2400" dirty="0">
                <a:hlinkClick r:id="rId3"/>
              </a:rPr>
              <a:t>Learning Systems </a:t>
            </a:r>
            <a:r>
              <a:rPr lang="en-GB" sz="2400" dirty="0" smtClean="0">
                <a:hlinkClick r:id="rId3"/>
              </a:rPr>
              <a:t>– </a:t>
            </a:r>
          </a:p>
          <a:p>
            <a:pPr algn="ctr">
              <a:buClr>
                <a:srgbClr val="000000"/>
              </a:buClr>
              <a:buSzPts val="2400"/>
            </a:pPr>
            <a:r>
              <a:rPr lang="en-GB" sz="1200" dirty="0" smtClean="0">
                <a:hlinkClick r:id="rId3"/>
              </a:rPr>
              <a:t>Human </a:t>
            </a:r>
            <a:r>
              <a:rPr lang="en-GB" sz="1200" dirty="0">
                <a:hlinkClick r:id="rId3"/>
              </a:rPr>
              <a:t>Learning Systems (</a:t>
            </a:r>
            <a:r>
              <a:rPr lang="en-GB" sz="1200" dirty="0" err="1">
                <a:hlinkClick r:id="rId3"/>
              </a:rPr>
              <a:t>ihub.scot</a:t>
            </a:r>
            <a:r>
              <a:rPr lang="en-GB" sz="1200" dirty="0">
                <a:hlinkClick r:id="rId3"/>
              </a:rPr>
              <a:t>)</a:t>
            </a:r>
            <a:endParaRPr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Google Shape;1351;p174" descr="Logo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636379" y="1468115"/>
            <a:ext cx="1372057" cy="145846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352;p174" descr="Logo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577063" y="2627762"/>
            <a:ext cx="1361749" cy="145846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1353;p174" descr="Shape&#10;&#10;Description automatically generated with medium confidenc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708462" y="2487164"/>
            <a:ext cx="1359290" cy="15990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3802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5900" y="146050"/>
            <a:ext cx="46926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/>
              <a:t>Keep In Touch With Us!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44" y="2231474"/>
            <a:ext cx="411722" cy="41248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 flipH="1">
            <a:off x="814069" y="2114550"/>
            <a:ext cx="43611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Keep in touch with our teams by emailing </a:t>
            </a:r>
            <a:r>
              <a:rPr lang="en-GB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his.transformationalredesign@nhs.scot</a:t>
            </a:r>
            <a:r>
              <a:rPr lang="en-GB" dirty="0">
                <a:solidFill>
                  <a:schemeClr val="tx2">
                    <a:lumMod val="60000"/>
                    <a:lumOff val="40000"/>
                  </a:schemeClr>
                </a:solidFill>
              </a:rPr>
              <a:t>.</a:t>
            </a: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550" y="4719003"/>
            <a:ext cx="2019300" cy="38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55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Draf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Office Theme">
  <a:themeElements>
    <a:clrScheme name="Custom 12">
      <a:dk1>
        <a:srgbClr val="565456"/>
      </a:dk1>
      <a:lt1>
        <a:sysClr val="window" lastClr="FFFFFF"/>
      </a:lt1>
      <a:dk2>
        <a:srgbClr val="1B4C87"/>
      </a:dk2>
      <a:lt2>
        <a:srgbClr val="009FE2"/>
      </a:lt2>
      <a:accent1>
        <a:srgbClr val="00704A"/>
      </a:accent1>
      <a:accent2>
        <a:srgbClr val="F8971D"/>
      </a:accent2>
      <a:accent3>
        <a:srgbClr val="C6006F"/>
      </a:accent3>
      <a:accent4>
        <a:srgbClr val="78278B"/>
      </a:accent4>
      <a:accent5>
        <a:srgbClr val="B30838"/>
      </a:accent5>
      <a:accent6>
        <a:srgbClr val="7AC143"/>
      </a:accent6>
      <a:hlink>
        <a:srgbClr val="009FE2"/>
      </a:hlink>
      <a:folHlink>
        <a:srgbClr val="1B4C8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randing Presentation for Board" id="{F68CDD88-C11B-48F8-9772-B8AAA3601428}" vid="{9EFEADEC-4BA7-42F5-B618-FB32723B77FD}"/>
    </a:ext>
  </a:extLst>
</a:theme>
</file>

<file path=ppt/theme/theme2.xml><?xml version="1.0" encoding="utf-8"?>
<a:theme xmlns:a="http://schemas.openxmlformats.org/drawingml/2006/main" name="2_Office Theme">
  <a:themeElements>
    <a:clrScheme name="Custom 12">
      <a:dk1>
        <a:srgbClr val="565456"/>
      </a:dk1>
      <a:lt1>
        <a:sysClr val="window" lastClr="FFFFFF"/>
      </a:lt1>
      <a:dk2>
        <a:srgbClr val="1B4C87"/>
      </a:dk2>
      <a:lt2>
        <a:srgbClr val="009FE2"/>
      </a:lt2>
      <a:accent1>
        <a:srgbClr val="00704A"/>
      </a:accent1>
      <a:accent2>
        <a:srgbClr val="F8971D"/>
      </a:accent2>
      <a:accent3>
        <a:srgbClr val="C6006F"/>
      </a:accent3>
      <a:accent4>
        <a:srgbClr val="78278B"/>
      </a:accent4>
      <a:accent5>
        <a:srgbClr val="B30838"/>
      </a:accent5>
      <a:accent6>
        <a:srgbClr val="7AC143"/>
      </a:accent6>
      <a:hlink>
        <a:srgbClr val="009FE2"/>
      </a:hlink>
      <a:folHlink>
        <a:srgbClr val="1B4C8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randing Presentation for Board" id="{F68CDD88-C11B-48F8-9772-B8AAA3601428}" vid="{9EFEADEC-4BA7-42F5-B618-FB32723B77F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ase Document" ma:contentTypeID="0x0101009B9C30850FF64BE98BE1A18B621E9B38003B8DD66EA2A6EA4EA63CA2150F833E3B" ma:contentTypeVersion="4" ma:contentTypeDescription="Base Document" ma:contentTypeScope="" ma:versionID="9ad2226f5eeae3295bc401af5bb5a4c6">
  <xsd:schema xmlns:xsd="http://www.w3.org/2001/XMLSchema" xmlns:xs="http://www.w3.org/2001/XMLSchema" xmlns:p="http://schemas.microsoft.com/office/2006/metadata/properties" xmlns:ns1="c90fc823-f927-4b13-b746-572312a1c935" targetNamespace="http://schemas.microsoft.com/office/2006/metadata/properties" ma:root="true" ma:fieldsID="04b8239baac28b7491c0a2e1b00f4e0f" ns1:_="">
    <xsd:import namespace="c90fc823-f927-4b13-b746-572312a1c935"/>
    <xsd:element name="properties">
      <xsd:complexType>
        <xsd:sequence>
          <xsd:element name="documentManagement">
            <xsd:complexType>
              <xsd:all>
                <xsd:element ref="ns1:b0997d7f6f2b4bc7890c40ab47985429" minOccurs="0"/>
                <xsd:element ref="ns1:TaxCatchAll" minOccurs="0"/>
                <xsd:element ref="ns1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0fc823-f927-4b13-b746-572312a1c935" elementFormDefault="qualified">
    <xsd:import namespace="http://schemas.microsoft.com/office/2006/documentManagement/types"/>
    <xsd:import namespace="http://schemas.microsoft.com/office/infopath/2007/PartnerControls"/>
    <xsd:element name="b0997d7f6f2b4bc7890c40ab47985429" ma:index="8" nillable="true" ma:taxonomy="true" ma:internalName="b0997d7f6f2b4bc7890c40ab47985429" ma:taxonomyFieldName="Departments" ma:displayName="Departments" ma:fieldId="{b0997d7f-6f2b-4bc7-890c-40ab47985429}" ma:sspId="12ec0724-cfef-4554-94cf-02961d342542" ma:termSetId="184a1858-4a21-4b18-a878-30e190b7640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5f5b355e-5b78-4275-9d55-722e430928fb}" ma:internalName="TaxCatchAll" ma:showField="CatchAllData" ma:web="c90fc823-f927-4b13-b746-572312a1c9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5f5b355e-5b78-4275-9d55-722e430928fb}" ma:internalName="TaxCatchAllLabel" ma:readOnly="true" ma:showField="CatchAllDataLabel" ma:web="c90fc823-f927-4b13-b746-572312a1c9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90fc823-f927-4b13-b746-572312a1c935">
      <Value>23</Value>
    </TaxCatchAll>
    <b0997d7f6f2b4bc7890c40ab47985429 xmlns="c90fc823-f927-4b13-b746-572312a1c935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2fbf1ff5-de18-469c-b676-07c9d4f1dcac</TermId>
        </TermInfo>
      </Terms>
    </b0997d7f6f2b4bc7890c40ab47985429>
  </documentManagement>
</p:properties>
</file>

<file path=customXml/itemProps1.xml><?xml version="1.0" encoding="utf-8"?>
<ds:datastoreItem xmlns:ds="http://schemas.openxmlformats.org/officeDocument/2006/customXml" ds:itemID="{38418BD4-0CC0-4513-BC26-8884489F2F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0fc823-f927-4b13-b746-572312a1c9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FEE1AE-4128-496B-ACCD-A73763ACAD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07FCB93-7797-4234-8677-9CD568EECFE0}">
  <ds:schemaRefs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purl.org/dc/terms/"/>
    <ds:schemaRef ds:uri="c90fc823-f927-4b13-b746-572312a1c935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ho we are what we do</Template>
  <TotalTime>4517</TotalTime>
  <Words>174</Words>
  <Application>Microsoft Office PowerPoint</Application>
  <PresentationFormat>Custom</PresentationFormat>
  <Paragraphs>28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venir</vt:lpstr>
      <vt:lpstr>Calibri</vt:lpstr>
      <vt:lpstr>Trebuchet MS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 we are, what we do</dc:title>
  <dc:creator>Kenneth Miller</dc:creator>
  <cp:lastModifiedBy>Diana Hekerem (NHS Healthcare Improvement Scotland)</cp:lastModifiedBy>
  <cp:revision>160</cp:revision>
  <cp:lastPrinted>2017-09-06T13:57:19Z</cp:lastPrinted>
  <dcterms:created xsi:type="dcterms:W3CDTF">2017-08-22T14:27:19Z</dcterms:created>
  <dcterms:modified xsi:type="dcterms:W3CDTF">2022-12-06T17:5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9C30850FF64BE98BE1A18B621E9B38003B8DD66EA2A6EA4EA63CA2150F833E3B</vt:lpwstr>
  </property>
  <property fmtid="{D5CDD505-2E9C-101B-9397-08002B2CF9AE}" pid="3" name="Departments">
    <vt:lpwstr>23;#Communications|2fbf1ff5-de18-469c-b676-07c9d4f1dcac</vt:lpwstr>
  </property>
</Properties>
</file>